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>
  <p:sldMasterIdLst>
    <p:sldMasterId id="2147483811" r:id="rId1"/>
  </p:sldMasterIdLst>
  <p:notesMasterIdLst>
    <p:notesMasterId r:id="rId5"/>
  </p:notesMasterIdLst>
  <p:handoutMasterIdLst>
    <p:handoutMasterId r:id="rId6"/>
  </p:handoutMasterIdLst>
  <p:sldIdLst>
    <p:sldId id="1304" r:id="rId2"/>
    <p:sldId id="1305" r:id="rId3"/>
    <p:sldId id="1307" r:id="rId4"/>
  </p:sldIdLst>
  <p:sldSz cx="12801600" cy="9601200" type="A3"/>
  <p:notesSz cx="6797675" cy="9874250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Helvetica" panose="020B0604020202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1pPr>
    <a:lvl2pPr marL="610845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2pPr>
    <a:lvl3pPr marL="1221692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3pPr>
    <a:lvl4pPr marL="1832539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4pPr>
    <a:lvl5pPr marL="2443384" algn="l" rtl="0" eaLnBrk="0" fontAlgn="base" hangingPunct="0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+mn-cs"/>
      </a:defRPr>
    </a:lvl5pPr>
    <a:lvl6pPr marL="3054231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6pPr>
    <a:lvl7pPr marL="3665077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7pPr>
    <a:lvl8pPr marL="4275923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8pPr>
    <a:lvl9pPr marL="4886769" algn="l" defTabSz="1221692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Презентация" id="{9E44EE59-2B7C-4099-9C6E-979B9FEBF92E}">
          <p14:sldIdLst>
            <p14:sldId id="1304"/>
            <p14:sldId id="1305"/>
            <p14:sldId id="1307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manovsky Roman" initials="RR" lastIdx="1" clrIdx="0"/>
  <p:cmAuthor id="1" name="Ekaterina Inozemtseva" initials="EI" lastIdx="10" clrIdx="1"/>
  <p:cmAuthor id="2" name="Nikita Vaysberg" initials="NV" lastIdx="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7BBE4E"/>
    <a:srgbClr val="C80000"/>
    <a:srgbClr val="ABDFFF"/>
    <a:srgbClr val="345EA2"/>
    <a:srgbClr val="286D80"/>
    <a:srgbClr val="246172"/>
    <a:srgbClr val="DAEE64"/>
    <a:srgbClr val="93C591"/>
    <a:srgbClr val="95C773"/>
    <a:srgbClr val="8AB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85" autoAdjust="0"/>
    <p:restoredTop sz="99179" autoAdjust="0"/>
  </p:normalViewPr>
  <p:slideViewPr>
    <p:cSldViewPr snapToGrid="0" snapToObjects="1">
      <p:cViewPr>
        <p:scale>
          <a:sx n="80" d="100"/>
          <a:sy n="80" d="100"/>
        </p:scale>
        <p:origin x="-590" y="-58"/>
      </p:cViewPr>
      <p:guideLst>
        <p:guide orient="horz" pos="3438"/>
        <p:guide orient="horz" pos="731"/>
        <p:guide orient="horz" pos="88"/>
        <p:guide orient="horz" pos="993"/>
        <p:guide orient="horz" pos="1414"/>
        <p:guide orient="horz" pos="5453"/>
        <p:guide orient="horz" pos="5884"/>
        <p:guide orient="horz" pos="5699"/>
        <p:guide pos="4138"/>
        <p:guide pos="1155"/>
        <p:guide pos="3117"/>
        <p:guide pos="75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0"/>
    </p:cViewPr>
  </p:sorterViewPr>
  <p:notesViewPr>
    <p:cSldViewPr snapToGrid="0" snapToObjects="1">
      <p:cViewPr varScale="1">
        <p:scale>
          <a:sx n="112" d="100"/>
          <a:sy n="112" d="100"/>
        </p:scale>
        <p:origin x="-1992" y="-72"/>
      </p:cViewPr>
      <p:guideLst>
        <p:guide orient="horz" pos="311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font" Target="fonts/font5.fntdata"/><Relationship Id="rId5" Type="http://schemas.openxmlformats.org/officeDocument/2006/relationships/notesMaster" Target="notesMasters/notesMaster1.xml"/><Relationship Id="rId15" Type="http://schemas.openxmlformats.org/officeDocument/2006/relationships/tags" Target="tags/tag1.xml"/><Relationship Id="rId10" Type="http://schemas.openxmlformats.org/officeDocument/2006/relationships/font" Target="fonts/font4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87517" y="9666700"/>
            <a:ext cx="364820" cy="167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31144">
              <a:defRPr sz="900" b="0"/>
            </a:lvl1pPr>
          </a:lstStyle>
          <a:p>
            <a:pPr>
              <a:defRPr/>
            </a:pPr>
            <a:fld id="{5EFD5B2C-F70E-4A18-80B5-D7D2CA0AB2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6637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4682" y="4692040"/>
            <a:ext cx="5559817" cy="4870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390" tIns="45876" rIns="93390" bIns="458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481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73088" y="227013"/>
            <a:ext cx="5608637" cy="42084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29861" y="9686573"/>
            <a:ext cx="222476" cy="147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31144">
              <a:defRPr sz="900" b="0"/>
            </a:lvl1pPr>
          </a:lstStyle>
          <a:p>
            <a:pPr>
              <a:defRPr/>
            </a:pPr>
            <a:fld id="{C8725C74-95DD-4059-B11B-683323D8F3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28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37551" indent="-237551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58134" indent="-218462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1527116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2137961" indent="-305423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2748808" indent="-305423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3054231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65077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75923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86769" algn="l" defTabSz="1221692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4.xml"/><Relationship Id="rId7" Type="http://schemas.openxmlformats.org/officeDocument/2006/relationships/image" Target="../media/image1.jpe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image" Target="../media/image4.emf"/><Relationship Id="rId4" Type="http://schemas.openxmlformats.org/officeDocument/2006/relationships/tags" Target="../tags/tag13.xml"/><Relationship Id="rId9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4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4.emf"/><Relationship Id="rId4" Type="http://schemas.openxmlformats.org/officeDocument/2006/relationships/tags" Target="../tags/tag30.xml"/><Relationship Id="rId9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600"/>
            <a:ext cx="10881360" cy="2058035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39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79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19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5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99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390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78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18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1D1566-07D7-4AE6-9841-CD424F72B4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57820"/>
              </p:ext>
            </p:extLst>
          </p:nvPr>
        </p:nvGraphicFramePr>
        <p:xfrm>
          <a:off x="2" y="0"/>
          <a:ext cx="222250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222250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 userDrawn="1"/>
        </p:nvSpPr>
        <p:spPr bwMode="auto">
          <a:xfrm>
            <a:off x="6235700" y="0"/>
            <a:ext cx="6565900" cy="9601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ru-RU" sz="1400" b="0" smtClean="0">
              <a:solidFill>
                <a:prstClr val="black"/>
              </a:solidFill>
            </a:endParaRPr>
          </a:p>
        </p:txBody>
      </p:sp>
      <p:pic>
        <p:nvPicPr>
          <p:cNvPr id="10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3340689" cy="4724399"/>
          </a:xfrm>
          <a:prstGeom prst="rect">
            <a:avLst/>
          </a:prstGeom>
          <a:noFill/>
        </p:spPr>
      </p:pic>
      <p:sp>
        <p:nvSpPr>
          <p:cNvPr id="12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716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918EA-9749-41C6-BD93-9A1E4873894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002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994963" y="537845"/>
            <a:ext cx="4031615" cy="11470323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95668" y="537845"/>
            <a:ext cx="11885930" cy="1147032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833C8-26A9-4774-ACDE-9FD61A191E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4424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60A0D5B-6834-4EBD-8DB0-15117A71DC1A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765" y="1560197"/>
            <a:ext cx="5943306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74656" y="1560197"/>
            <a:ext cx="6203852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422967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1255542" y="162242"/>
            <a:ext cx="11422966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8439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8192463-13A9-4CEF-BBD1-B4E63E5B7FB7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9763" y="1522414"/>
            <a:ext cx="6146409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9763" y="2620674"/>
            <a:ext cx="6146409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378" y="1522414"/>
            <a:ext cx="6113585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378" y="2620674"/>
            <a:ext cx="6113585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361420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1255541" y="162242"/>
            <a:ext cx="1136141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704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2309" y="9001125"/>
            <a:ext cx="695641" cy="428943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/>
            </a:lvl1pPr>
          </a:lstStyle>
          <a:p>
            <a:pPr>
              <a:defRPr/>
            </a:pPr>
            <a:fld id="{0C56BF24-2B8D-42BA-9CEE-7775E6E13E6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45185" y="1878015"/>
            <a:ext cx="11818912" cy="6651942"/>
          </a:xfrm>
          <a:prstGeom prst="rect">
            <a:avLst/>
          </a:prstGeom>
        </p:spPr>
        <p:txBody>
          <a:bodyPr lIns="122169" tIns="61085" rIns="122169" bIns="61085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Заголовок 4"/>
          <p:cNvSpPr txBox="1">
            <a:spLocks/>
          </p:cNvSpPr>
          <p:nvPr userDrawn="1"/>
        </p:nvSpPr>
        <p:spPr>
          <a:xfrm>
            <a:off x="1255543" y="162245"/>
            <a:ext cx="11286987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144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9387840" y="9112252"/>
            <a:ext cx="2987040" cy="511175"/>
          </a:xfrm>
          <a:prstGeom prst="rect">
            <a:avLst/>
          </a:prstGeom>
          <a:noFill/>
          <a:extLst/>
        </p:spPr>
        <p:txBody>
          <a:bodyPr lIns="122191" tIns="61096" rIns="122191" bIns="61096" anchor="ctr"/>
          <a:lstStyle>
            <a:defPPr>
              <a:defRPr lang="en-US"/>
            </a:defPPr>
            <a:lvl1pPr algn="r" rtl="0" eaLnBrk="0" fontAlgn="auto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Calibri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295704-584C-438A-91FF-9284ECD4B5EA}" type="slidenum">
              <a:rPr lang="ru-RU" sz="1600" smtClean="0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6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lIns="122191" tIns="61096" rIns="122191" bIns="61096"/>
          <a:lstStyle>
            <a:lvl1pPr>
              <a:defRPr/>
            </a:lvl1pPr>
          </a:lstStyle>
          <a:p>
            <a:pPr>
              <a:defRPr/>
            </a:pPr>
            <a:fld id="{5F2215F5-6C35-4EE5-BC9E-F87D930F25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36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860A0D5B-6834-4EBD-8DB0-15117A71DC1A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9765" y="1560197"/>
            <a:ext cx="5943306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74656" y="1560197"/>
            <a:ext cx="6203852" cy="7640955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100">
                <a:latin typeface="Calibri" pitchFamily="34" charset="0"/>
                <a:cs typeface="Calibri" pitchFamily="34" charset="0"/>
              </a:defRPr>
            </a:lvl2pPr>
            <a:lvl3pPr>
              <a:defRPr sz="19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8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422967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2" name="Заголовок 5"/>
          <p:cNvSpPr>
            <a:spLocks noGrp="1"/>
          </p:cNvSpPr>
          <p:nvPr>
            <p:ph type="title"/>
          </p:nvPr>
        </p:nvSpPr>
        <p:spPr>
          <a:xfrm>
            <a:off x="1255542" y="162242"/>
            <a:ext cx="11422966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6859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05154" cy="22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5154" cy="2222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11722491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8192463-13A9-4CEF-BBD1-B4E63E5B7FB7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smtClean="0">
              <a:solidFill>
                <a:prstClr val="black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9763" y="1522414"/>
            <a:ext cx="6146409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49763" y="2620674"/>
            <a:ext cx="6146409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378" y="1522414"/>
            <a:ext cx="6113585" cy="1098262"/>
          </a:xfrm>
          <a:prstGeom prst="rect">
            <a:avLst/>
          </a:prstGeom>
        </p:spPr>
        <p:txBody>
          <a:bodyPr lIns="122169" tIns="61085" rIns="122169" bIns="61085" anchor="b"/>
          <a:lstStyle>
            <a:lvl1pPr marL="0" indent="0">
              <a:buNone/>
              <a:defRPr sz="2400" b="0">
                <a:latin typeface="Calibri" pitchFamily="34" charset="0"/>
                <a:cs typeface="Calibri" pitchFamily="34" charset="0"/>
              </a:defRPr>
            </a:lvl1pPr>
            <a:lvl2pPr marL="610845" indent="0">
              <a:buNone/>
              <a:defRPr sz="2700" b="1"/>
            </a:lvl2pPr>
            <a:lvl3pPr marL="1221692" indent="0">
              <a:buNone/>
              <a:defRPr sz="2400" b="1"/>
            </a:lvl3pPr>
            <a:lvl4pPr marL="1832539" indent="0">
              <a:buNone/>
              <a:defRPr sz="2100" b="1"/>
            </a:lvl4pPr>
            <a:lvl5pPr marL="2443384" indent="0">
              <a:buNone/>
              <a:defRPr sz="2100" b="1"/>
            </a:lvl5pPr>
            <a:lvl6pPr marL="3054231" indent="0">
              <a:buNone/>
              <a:defRPr sz="2100" b="1"/>
            </a:lvl6pPr>
            <a:lvl7pPr marL="3665077" indent="0">
              <a:buNone/>
              <a:defRPr sz="2100" b="1"/>
            </a:lvl7pPr>
            <a:lvl8pPr marL="4275923" indent="0">
              <a:buNone/>
              <a:defRPr sz="2100" b="1"/>
            </a:lvl8pPr>
            <a:lvl9pPr marL="4886769" indent="0">
              <a:buNone/>
              <a:defRPr sz="21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378" y="2620674"/>
            <a:ext cx="6113585" cy="6580476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 sz="2100">
                <a:latin typeface="Calibri" pitchFamily="34" charset="0"/>
                <a:cs typeface="Calibri" pitchFamily="34" charset="0"/>
              </a:defRPr>
            </a:lvl1pPr>
            <a:lvl2pPr>
              <a:defRPr sz="1900">
                <a:latin typeface="Calibri" pitchFamily="34" charset="0"/>
                <a:cs typeface="Calibri" pitchFamily="34" charset="0"/>
              </a:defRPr>
            </a:lvl2pPr>
            <a:lvl3pPr>
              <a:defRPr sz="1600">
                <a:latin typeface="Calibri" pitchFamily="34" charset="0"/>
                <a:cs typeface="Calibri" pitchFamily="34" charset="0"/>
              </a:defRPr>
            </a:lvl3pPr>
            <a:lvl4pPr>
              <a:defRPr sz="1500">
                <a:latin typeface="Calibri" pitchFamily="34" charset="0"/>
                <a:cs typeface="Calibri" pitchFamily="34" charset="0"/>
              </a:defRPr>
            </a:lvl4pPr>
            <a:lvl5pPr>
              <a:defRPr sz="1500">
                <a:latin typeface="Calibri" pitchFamily="34" charset="0"/>
                <a:cs typeface="Calibri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15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1255542" y="162245"/>
            <a:ext cx="11361420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6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7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8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9" name="Заголовок 5"/>
          <p:cNvSpPr>
            <a:spLocks noGrp="1"/>
          </p:cNvSpPr>
          <p:nvPr>
            <p:ph type="title"/>
          </p:nvPr>
        </p:nvSpPr>
        <p:spPr>
          <a:xfrm>
            <a:off x="1255541" y="162242"/>
            <a:ext cx="1136141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5988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Цветно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682309" y="9001125"/>
            <a:ext cx="695641" cy="428943"/>
          </a:xfrm>
          <a:prstGeom prst="rect">
            <a:avLst/>
          </a:prstGeom>
        </p:spPr>
        <p:txBody>
          <a:bodyPr lIns="122169" tIns="61085" rIns="122169" bIns="61085"/>
          <a:lstStyle>
            <a:lvl1pPr>
              <a:defRPr/>
            </a:lvl1pPr>
          </a:lstStyle>
          <a:p>
            <a:pPr>
              <a:defRPr/>
            </a:pPr>
            <a:fld id="{0C56BF24-2B8D-42BA-9CEE-7775E6E13E6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445185" y="1878015"/>
            <a:ext cx="11818912" cy="6651942"/>
          </a:xfrm>
          <a:prstGeom prst="rect">
            <a:avLst/>
          </a:prstGeom>
        </p:spPr>
        <p:txBody>
          <a:bodyPr lIns="122169" tIns="61085" rIns="122169" bIns="61085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4"/>
          <p:cNvSpPr/>
          <p:nvPr userDrawn="1">
            <p:custDataLst>
              <p:tags r:id="rId2"/>
            </p:custDataLst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8" name="Прямоугольник 5"/>
          <p:cNvSpPr/>
          <p:nvPr userDrawn="1">
            <p:custDataLst>
              <p:tags r:id="rId3"/>
            </p:custDataLst>
          </p:nvPr>
        </p:nvSpPr>
        <p:spPr>
          <a:xfrm>
            <a:off x="52109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6"/>
          <p:cNvSpPr/>
          <p:nvPr userDrawn="1">
            <p:custDataLst>
              <p:tags r:id="rId4"/>
            </p:custDataLst>
          </p:nvPr>
        </p:nvSpPr>
        <p:spPr>
          <a:xfrm>
            <a:off x="149763" y="162245"/>
            <a:ext cx="268751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7"/>
          <p:cNvSpPr/>
          <p:nvPr userDrawn="1">
            <p:custDataLst>
              <p:tags r:id="rId5"/>
            </p:custDataLst>
          </p:nvPr>
        </p:nvSpPr>
        <p:spPr>
          <a:xfrm>
            <a:off x="894473" y="162245"/>
            <a:ext cx="268752" cy="1211262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169" tIns="61085" rIns="122169" bIns="6108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  <a:latin typeface="Arial"/>
              <a:cs typeface="Arial"/>
              <a:sym typeface="Helvetica"/>
            </a:endParaRPr>
          </a:p>
        </p:txBody>
      </p:sp>
      <p:sp>
        <p:nvSpPr>
          <p:cNvPr id="11" name="Заголовок 4"/>
          <p:cNvSpPr txBox="1">
            <a:spLocks/>
          </p:cNvSpPr>
          <p:nvPr userDrawn="1"/>
        </p:nvSpPr>
        <p:spPr>
          <a:xfrm>
            <a:off x="1255543" y="162245"/>
            <a:ext cx="11286987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1pPr>
            <a:lvl2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2pPr>
            <a:lvl3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3pPr>
            <a:lvl4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4pPr>
            <a:lvl5pPr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Calibri" pitchFamily="34" charset="0"/>
                <a:ea typeface="Calibri" pitchFamily="34" charset="0"/>
                <a:cs typeface="Calibri" pitchFamily="34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255543" y="162245"/>
            <a:ext cx="11380043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9070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9387840" y="9112252"/>
            <a:ext cx="2987040" cy="511175"/>
          </a:xfrm>
          <a:prstGeom prst="rect">
            <a:avLst/>
          </a:prstGeom>
          <a:noFill/>
          <a:extLst/>
        </p:spPr>
        <p:txBody>
          <a:bodyPr lIns="122191" tIns="61096" rIns="122191" bIns="61096" anchor="ctr"/>
          <a:lstStyle>
            <a:defPPr>
              <a:defRPr lang="en-US"/>
            </a:defPPr>
            <a:lvl1pPr algn="r" rtl="0" eaLnBrk="0" fontAlgn="auto" hangingPunct="0">
              <a:spcBef>
                <a:spcPts val="0"/>
              </a:spcBef>
              <a:spcAft>
                <a:spcPts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Calibri" pitchFamily="34" charset="0"/>
              </a:defRPr>
            </a:lvl1pPr>
            <a:lvl2pPr marL="742950" indent="-28575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295704-584C-438A-91FF-9284ECD4B5EA}" type="slidenum">
              <a:rPr lang="ru-RU" sz="1600" smtClean="0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6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9174480" y="8898892"/>
            <a:ext cx="2987040" cy="511175"/>
          </a:xfrm>
          <a:prstGeom prst="rect">
            <a:avLst/>
          </a:prstGeom>
        </p:spPr>
        <p:txBody>
          <a:bodyPr lIns="122191" tIns="61096" rIns="122191" bIns="61096"/>
          <a:lstStyle>
            <a:lvl1pPr>
              <a:defRPr/>
            </a:lvl1pPr>
          </a:lstStyle>
          <a:p>
            <a:pPr>
              <a:defRPr/>
            </a:pPr>
            <a:fld id="{5F2215F5-6C35-4EE5-BC9E-F87D930F252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571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0080" y="2240282"/>
            <a:ext cx="11521440" cy="63363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299FDF-267F-4AC2-96C5-43ADE515A5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4220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5"/>
            <a:ext cx="10881360" cy="1906905"/>
          </a:xfrm>
          <a:prstGeom prst="rect">
            <a:avLst/>
          </a:prstGeo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39849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79698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195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5939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19924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390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7894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187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AED2BE-6100-49FE-8EED-4DA8174988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2010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95670" y="3135948"/>
            <a:ext cx="7958772" cy="8872220"/>
          </a:xfrm>
          <a:prstGeom prst="rect">
            <a:avLst/>
          </a:prstGeo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9067800" y="3135948"/>
            <a:ext cx="7958773" cy="8872220"/>
          </a:xfrm>
          <a:prstGeom prst="rect">
            <a:avLst/>
          </a:prstGeo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A077DD-5F00-4244-BD26-5B84343D25B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905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00" b="1"/>
            </a:lvl1pPr>
            <a:lvl2pPr marL="639849" indent="0">
              <a:buNone/>
              <a:defRPr sz="2800" b="1"/>
            </a:lvl2pPr>
            <a:lvl3pPr marL="1279698" indent="0">
              <a:buNone/>
              <a:defRPr sz="2500" b="1"/>
            </a:lvl3pPr>
            <a:lvl4pPr marL="1919547" indent="0">
              <a:buNone/>
              <a:defRPr sz="2200" b="1"/>
            </a:lvl4pPr>
            <a:lvl5pPr marL="2559397" indent="0">
              <a:buNone/>
              <a:defRPr sz="2200" b="1"/>
            </a:lvl5pPr>
            <a:lvl6pPr marL="3199246" indent="0">
              <a:buNone/>
              <a:defRPr sz="2200" b="1"/>
            </a:lvl6pPr>
            <a:lvl7pPr marL="3839098" indent="0">
              <a:buNone/>
              <a:defRPr sz="2200" b="1"/>
            </a:lvl7pPr>
            <a:lvl8pPr marL="4478947" indent="0">
              <a:buNone/>
              <a:defRPr sz="2200" b="1"/>
            </a:lvl8pPr>
            <a:lvl9pPr marL="5118796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40" y="2149158"/>
            <a:ext cx="5658485" cy="8956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00" b="1"/>
            </a:lvl1pPr>
            <a:lvl2pPr marL="639849" indent="0">
              <a:buNone/>
              <a:defRPr sz="2800" b="1"/>
            </a:lvl2pPr>
            <a:lvl3pPr marL="1279698" indent="0">
              <a:buNone/>
              <a:defRPr sz="2500" b="1"/>
            </a:lvl3pPr>
            <a:lvl4pPr marL="1919547" indent="0">
              <a:buNone/>
              <a:defRPr sz="2200" b="1"/>
            </a:lvl4pPr>
            <a:lvl5pPr marL="2559397" indent="0">
              <a:buNone/>
              <a:defRPr sz="2200" b="1"/>
            </a:lvl5pPr>
            <a:lvl6pPr marL="3199246" indent="0">
              <a:buNone/>
              <a:defRPr sz="2200" b="1"/>
            </a:lvl6pPr>
            <a:lvl7pPr marL="3839098" indent="0">
              <a:buNone/>
              <a:defRPr sz="2200" b="1"/>
            </a:lvl7pPr>
            <a:lvl8pPr marL="4478947" indent="0">
              <a:buNone/>
              <a:defRPr sz="2200" b="1"/>
            </a:lvl8pPr>
            <a:lvl9pPr marL="5118796" indent="0">
              <a:buNone/>
              <a:defRPr sz="2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40" y="3044825"/>
            <a:ext cx="5658485" cy="5531803"/>
          </a:xfrm>
          <a:prstGeom prst="rect">
            <a:avLst/>
          </a:prstGeo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07940C-F0AD-45AE-B718-7FE7A2ED64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38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49B0B-9645-40EB-9EA2-433B1D63613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525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86679-1434-4A9C-956B-4E5654CB4E6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56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  <a:prstGeom prst="rect">
            <a:avLst/>
          </a:prstGeo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  <a:prstGeom prst="rect">
            <a:avLst/>
          </a:prstGeo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639849" indent="0">
              <a:buNone/>
              <a:defRPr sz="1700"/>
            </a:lvl2pPr>
            <a:lvl3pPr marL="1279698" indent="0">
              <a:buNone/>
              <a:defRPr sz="1400"/>
            </a:lvl3pPr>
            <a:lvl4pPr marL="1919547" indent="0">
              <a:buNone/>
              <a:defRPr sz="1300"/>
            </a:lvl4pPr>
            <a:lvl5pPr marL="2559397" indent="0">
              <a:buNone/>
              <a:defRPr sz="1300"/>
            </a:lvl5pPr>
            <a:lvl6pPr marL="3199246" indent="0">
              <a:buNone/>
              <a:defRPr sz="1300"/>
            </a:lvl6pPr>
            <a:lvl7pPr marL="3839098" indent="0">
              <a:buNone/>
              <a:defRPr sz="1300"/>
            </a:lvl7pPr>
            <a:lvl8pPr marL="4478947" indent="0">
              <a:buNone/>
              <a:defRPr sz="1300"/>
            </a:lvl8pPr>
            <a:lvl9pPr marL="5118796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9BC44F-AB61-4C1C-8D09-3B24F5063EB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9689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  <a:prstGeom prst="rect">
            <a:avLst/>
          </a:prstGeo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500"/>
            </a:lvl1pPr>
            <a:lvl2pPr marL="639849" indent="0">
              <a:buNone/>
              <a:defRPr sz="3900"/>
            </a:lvl2pPr>
            <a:lvl3pPr marL="1279698" indent="0">
              <a:buNone/>
              <a:defRPr sz="3400"/>
            </a:lvl3pPr>
            <a:lvl4pPr marL="1919547" indent="0">
              <a:buNone/>
              <a:defRPr sz="2800"/>
            </a:lvl4pPr>
            <a:lvl5pPr marL="2559397" indent="0">
              <a:buNone/>
              <a:defRPr sz="2800"/>
            </a:lvl5pPr>
            <a:lvl6pPr marL="3199246" indent="0">
              <a:buNone/>
              <a:defRPr sz="2800"/>
            </a:lvl6pPr>
            <a:lvl7pPr marL="3839098" indent="0">
              <a:buNone/>
              <a:defRPr sz="2800"/>
            </a:lvl7pPr>
            <a:lvl8pPr marL="4478947" indent="0">
              <a:buNone/>
              <a:defRPr sz="2800"/>
            </a:lvl8pPr>
            <a:lvl9pPr marL="5118796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639849" indent="0">
              <a:buNone/>
              <a:defRPr sz="1700"/>
            </a:lvl2pPr>
            <a:lvl3pPr marL="1279698" indent="0">
              <a:buNone/>
              <a:defRPr sz="1400"/>
            </a:lvl3pPr>
            <a:lvl4pPr marL="1919547" indent="0">
              <a:buNone/>
              <a:defRPr sz="1300"/>
            </a:lvl4pPr>
            <a:lvl5pPr marL="2559397" indent="0">
              <a:buNone/>
              <a:defRPr sz="1300"/>
            </a:lvl5pPr>
            <a:lvl6pPr marL="3199246" indent="0">
              <a:buNone/>
              <a:defRPr sz="1300"/>
            </a:lvl6pPr>
            <a:lvl7pPr marL="3839098" indent="0">
              <a:buNone/>
              <a:defRPr sz="1300"/>
            </a:lvl7pPr>
            <a:lvl8pPr marL="4478947" indent="0">
              <a:buNone/>
              <a:defRPr sz="1300"/>
            </a:lvl8pPr>
            <a:lvl9pPr marL="5118796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E640C-F6CD-4A83-85AA-07F8C4D2B86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3172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5"/>
            <a:ext cx="29870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038C17-F90B-489F-A041-4C4E9475FD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10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5"/>
            <a:ext cx="40538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5"/>
            <a:ext cx="2987040" cy="511175"/>
          </a:xfrm>
          <a:prstGeom prst="rect">
            <a:avLst/>
          </a:prstGeom>
        </p:spPr>
        <p:txBody>
          <a:bodyPr vert="horz" lIns="127970" tIns="63987" rIns="127970" bIns="63987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FF0ACB-FE97-4C53-BC57-33402DCD0AE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4"/>
          <p:cNvSpPr txBox="1">
            <a:spLocks noGrp="1"/>
          </p:cNvSpPr>
          <p:nvPr userDrawn="1">
            <p:custDataLst>
              <p:tags r:id="rId21"/>
            </p:custDataLst>
          </p:nvPr>
        </p:nvSpPr>
        <p:spPr bwMode="auto">
          <a:xfrm>
            <a:off x="11985088" y="9201152"/>
            <a:ext cx="6934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6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600" b="0" dirty="0" smtClean="0">
              <a:solidFill>
                <a:prstClr val="black"/>
              </a:solidFill>
            </a:endParaRPr>
          </a:p>
        </p:txBody>
      </p:sp>
      <p:sp>
        <p:nvSpPr>
          <p:cNvPr id="13" name="Заголовок 5"/>
          <p:cNvSpPr txBox="1">
            <a:spLocks/>
          </p:cNvSpPr>
          <p:nvPr userDrawn="1"/>
        </p:nvSpPr>
        <p:spPr>
          <a:xfrm>
            <a:off x="1255543" y="162242"/>
            <a:ext cx="11160369" cy="1211262"/>
          </a:xfrm>
          <a:prstGeom prst="rect">
            <a:avLst/>
          </a:prstGeom>
        </p:spPr>
        <p:txBody>
          <a:bodyPr lIns="122169" tIns="61085" rIns="122169" bIns="61085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bg1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r>
              <a:rPr lang="ru-RU" smtClean="0">
                <a:solidFill>
                  <a:prstClr val="white"/>
                </a:solidFill>
              </a:rPr>
              <a:t>Образец заголовка</a:t>
            </a:r>
            <a:endParaRPr lang="ru-RU">
              <a:solidFill>
                <a:prstClr val="white"/>
              </a:solidFill>
            </a:endParaRPr>
          </a:p>
        </p:txBody>
      </p:sp>
      <p:pic>
        <p:nvPicPr>
          <p:cNvPr id="14" name="Picture 31" descr="\\A4-plus\lava\Макеты\2012\Сколково\Презентация\2.jpg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51893" y="112974"/>
            <a:ext cx="1626615" cy="117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4" descr="\\A4-plus\lava\Макеты\2012\Сколково\Презентация\Рисунок2.jpg"/>
          <p:cNvPicPr>
            <a:picLocks noChangeAspect="1" noChangeArrowheads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"/>
            <a:ext cx="3340689" cy="472439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923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</p:sldLayoutIdLst>
  <p:hf hdr="0" ftr="0" dt="0"/>
  <p:txStyles>
    <p:titleStyle>
      <a:lvl1pPr algn="ctr" defTabSz="1279698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79888" indent="-479888" algn="l" defTabSz="1279698" rtl="0" eaLnBrk="1" latinLnBrk="0" hangingPunct="1">
        <a:spcBef>
          <a:spcPct val="20000"/>
        </a:spcBef>
        <a:buFont typeface="Arial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39756" indent="-399904" algn="l" defTabSz="1279698" rtl="0" eaLnBrk="1" latinLnBrk="0" hangingPunct="1">
        <a:spcBef>
          <a:spcPct val="20000"/>
        </a:spcBef>
        <a:buFont typeface="Arial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625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39474" indent="-319925" algn="l" defTabSz="127969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323" indent="-319925" algn="l" defTabSz="1279698" rtl="0" eaLnBrk="1" latinLnBrk="0" hangingPunct="1">
        <a:spcBef>
          <a:spcPct val="20000"/>
        </a:spcBef>
        <a:buFont typeface="Arial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172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021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8872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8723" indent="-319925" algn="l" defTabSz="1279698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849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698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54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39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246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098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8947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8796" algn="l" defTabSz="127969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gif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910951" y="9025247"/>
            <a:ext cx="700644" cy="4631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018664" y="3120042"/>
            <a:ext cx="6351794" cy="3062394"/>
          </a:xfrm>
          <a:prstGeom prst="rect">
            <a:avLst/>
          </a:prstGeom>
        </p:spPr>
        <p:txBody>
          <a:bodyPr wrap="none" lIns="95782" tIns="47891" rIns="95782" bIns="47891">
            <a:noAutofit/>
          </a:bodyPr>
          <a:lstStyle/>
          <a:p>
            <a:pPr>
              <a:lnSpc>
                <a:spcPct val="90000"/>
              </a:lnSpc>
            </a:pPr>
            <a:r>
              <a:rPr lang="ru-RU" sz="3200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Схемы изменения маршрута</a:t>
            </a:r>
            <a:r>
              <a:rPr lang="en-US" sz="3200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3200" dirty="0" smtClean="0">
              <a:solidFill>
                <a:srgbClr val="92D05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3200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движения</a:t>
            </a:r>
            <a:r>
              <a:rPr lang="en-US" sz="3200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3200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транспорта</a:t>
            </a:r>
          </a:p>
          <a:p>
            <a:pPr>
              <a:lnSpc>
                <a:spcPct val="90000"/>
              </a:lnSpc>
            </a:pPr>
            <a:r>
              <a:rPr lang="ru-RU" sz="3200" dirty="0" smtClean="0">
                <a:solidFill>
                  <a:srgbClr val="92D050"/>
                </a:solidFill>
                <a:latin typeface="Arial" pitchFamily="34" charset="0"/>
                <a:cs typeface="Arial" pitchFamily="34" charset="0"/>
              </a:rPr>
              <a:t> до Гиперкуба</a:t>
            </a:r>
            <a:endParaRPr lang="ru-RU" sz="3200" dirty="0">
              <a:solidFill>
                <a:srgbClr val="92D050"/>
              </a:solidFill>
              <a:latin typeface="Arial" pitchFamily="34" charset="0"/>
              <a:cs typeface="Arial" pitchFamily="34" charset="0"/>
            </a:endParaRPr>
          </a:p>
          <a:p>
            <a:pPr algn="r">
              <a:lnSpc>
                <a:spcPct val="90000"/>
              </a:lnSpc>
            </a:pPr>
            <a:endParaRPr lang="ru-RU" sz="3200" dirty="0" smtClean="0">
              <a:solidFill>
                <a:srgbClr val="92D05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1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54739" y="2702962"/>
            <a:ext cx="7661652" cy="5762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1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95" y="752032"/>
            <a:ext cx="11472531" cy="836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1981733" y="132299"/>
            <a:ext cx="8942610" cy="695484"/>
          </a:xfrm>
          <a:ln w="3175">
            <a:noFill/>
          </a:ln>
        </p:spPr>
        <p:txBody>
          <a:bodyPr/>
          <a:lstStyle/>
          <a:p>
            <a:r>
              <a:rPr lang="ru-RU" sz="4000" dirty="0" smtClean="0"/>
              <a:t>Схема № 1. Маршрут движения </a:t>
            </a:r>
            <a:endParaRPr lang="ru-RU" sz="4000" dirty="0"/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>
            <a:off x="929404" y="9330507"/>
            <a:ext cx="955965" cy="0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 flipH="1" flipV="1">
            <a:off x="1955021" y="2507491"/>
            <a:ext cx="501100" cy="5126015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 flipV="1">
            <a:off x="1453921" y="7633505"/>
            <a:ext cx="1002200" cy="46232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 flipH="1" flipV="1">
            <a:off x="1385465" y="7669104"/>
            <a:ext cx="136912" cy="1387802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1955021" y="2507491"/>
            <a:ext cx="2064086" cy="50748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 flipV="1">
            <a:off x="4019107" y="1754372"/>
            <a:ext cx="967563" cy="753120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/>
          <p:nvPr/>
        </p:nvCxnSpPr>
        <p:spPr>
          <a:xfrm flipV="1">
            <a:off x="10364216" y="827783"/>
            <a:ext cx="0" cy="868111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 flipV="1">
            <a:off x="4986670" y="1695894"/>
            <a:ext cx="5380074" cy="58478"/>
          </a:xfrm>
          <a:prstGeom prst="line">
            <a:avLst/>
          </a:prstGeom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2051791" y="9120342"/>
            <a:ext cx="5697201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аршрут движения транспорта до Гиперкуба</a:t>
            </a:r>
            <a:endParaRPr lang="ru-RU" dirty="0"/>
          </a:p>
        </p:txBody>
      </p:sp>
      <p:pic>
        <p:nvPicPr>
          <p:cNvPr id="131076" name="Picture 4" descr="http://naukajazdy.pl/phpThumb/phpThumb.php?src=//cms/images/clipart/Image/znaki_drogowe/Zakazu/B3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508401" y="2767678"/>
            <a:ext cx="418877" cy="41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78" name="Picture 6" descr="http://76.img.avito.st/1280x960/132842947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442192" y="2493192"/>
            <a:ext cx="499062" cy="27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6" descr="http://76.img.avito.st/1280x960/132842947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17064">
            <a:off x="1653806" y="8793964"/>
            <a:ext cx="499062" cy="27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6" descr="http://76.img.avito.st/1280x960/132842947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988825">
            <a:off x="4402547" y="2420996"/>
            <a:ext cx="499062" cy="27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6" descr="http://76.img.avito.st/1280x960/132842947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998266">
            <a:off x="9764577" y="1123114"/>
            <a:ext cx="499062" cy="27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6" descr="http://76.img.avito.st/1280x960/132842947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770152">
            <a:off x="1925509" y="7061927"/>
            <a:ext cx="499062" cy="27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6" descr="http://76.img.avito.st/1280x960/132842947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31469">
            <a:off x="2496784" y="7179215"/>
            <a:ext cx="499062" cy="294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4" descr="http://naukajazdy.pl/phpThumb/phpThumb.php?src=//cms/images/clipart/Image/znaki_drogowe/Zakazu/B3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588872" y="8363005"/>
            <a:ext cx="418877" cy="41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" descr="http://naukajazdy.pl/phpThumb/phpThumb.php?src=//cms/images/clipart/Image/znaki_drogowe/Zakazu/B3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708503" y="2130932"/>
            <a:ext cx="418877" cy="41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4" descr="http://naukajazdy.pl/phpThumb/phpThumb.php?src=//cms/images/clipart/Image/znaki_drogowe/Zakazu/B3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9451695" y="1052399"/>
            <a:ext cx="418877" cy="41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4" descr="http://naukajazdy.pl/phpThumb/phpThumb.php?src=//cms/images/clipart/Image/znaki_drogowe/Zakazu/B3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632914" y="7081240"/>
            <a:ext cx="418877" cy="41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4" descr="http://naukajazdy.pl/phpThumb/phpThumb.php?src=//cms/images/clipart/Image/znaki_drogowe/Zakazu/B3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471574" y="6757131"/>
            <a:ext cx="418877" cy="41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80" name="Picture 8" descr="http://eepwiki.de/images/e/e2/600px-Zeichen_306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50408">
            <a:off x="2149991" y="2617953"/>
            <a:ext cx="680745" cy="680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82" name="Picture 10" descr="http://s00.yaplakal.com/pics/pics_preview/5/9/7/333379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803855">
            <a:off x="2306166" y="3233628"/>
            <a:ext cx="546182" cy="54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84" name="Picture 12" descr="http://www.myautoweek.com/Nshanner/image206.gi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512526">
            <a:off x="1421021" y="1897701"/>
            <a:ext cx="438150" cy="371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0" descr="http://s00.yaplakal.com/pics/pics_preview/5/9/7/333379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803855">
            <a:off x="1267938" y="1318235"/>
            <a:ext cx="546182" cy="54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8" descr="http://eepwiki.de/images/e/e2/600px-Zeichen_306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93864">
            <a:off x="2024059" y="1613376"/>
            <a:ext cx="680745" cy="680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0" descr="http://s00.yaplakal.com/pics/pics_preview/5/9/7/333379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001137">
            <a:off x="2659809" y="1620759"/>
            <a:ext cx="546182" cy="543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86" name="Picture 14" descr="http://polemika.com.ua/images/2012-44/101397/56_3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525393">
            <a:off x="9785439" y="1972942"/>
            <a:ext cx="501123" cy="501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088" name="Picture 16" descr="http://www.cvm.org.uk/blog/wp-content/uploads/2013/04/30mph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538931">
            <a:off x="1486258" y="3205123"/>
            <a:ext cx="508533" cy="50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6" descr="http://www.cvm.org.uk/blog/wp-content/uploads/2013/04/30mph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167238">
            <a:off x="2324991" y="6240223"/>
            <a:ext cx="508533" cy="508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4372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433454" y="1223158"/>
            <a:ext cx="12047512" cy="8322079"/>
            <a:chOff x="0" y="457200"/>
            <a:chExt cx="10409238" cy="7169150"/>
          </a:xfrm>
        </p:grpSpPr>
        <p:pic>
          <p:nvPicPr>
            <p:cNvPr id="4097" name="Рисунок 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57200"/>
              <a:ext cx="10409238" cy="7169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8" name="Рисунок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700388">
              <a:off x="6494463" y="3565525"/>
              <a:ext cx="457200" cy="444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9" name="Рисунок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702168">
              <a:off x="6702425" y="3954463"/>
              <a:ext cx="446088" cy="428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0" name="Рисунок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7829868">
              <a:off x="5730876" y="1427162"/>
              <a:ext cx="476250" cy="415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1" name="Рисунок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2492404">
              <a:off x="6054725" y="1116013"/>
              <a:ext cx="444500" cy="428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2" name="Рисунок 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99612">
              <a:off x="3858651" y="5447401"/>
              <a:ext cx="457200" cy="444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3" name="Рисунок 7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97832">
              <a:off x="3467505" y="5665517"/>
              <a:ext cx="444500" cy="428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4" name="Рисунок 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64263">
              <a:off x="2546350" y="3482975"/>
              <a:ext cx="514350" cy="4365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0" y="0"/>
            <a:ext cx="12801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" name="Rectangle 12"/>
          <p:cNvSpPr>
            <a:spLocks noChangeArrowheads="1"/>
          </p:cNvSpPr>
          <p:nvPr/>
        </p:nvSpPr>
        <p:spPr bwMode="auto">
          <a:xfrm>
            <a:off x="0" y="457200"/>
            <a:ext cx="128016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ru-RU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Calibri" pitchFamily="34" charset="0"/>
                <a:cs typeface="Times New Roman" pitchFamily="18" charset="0"/>
              </a:rPr>
              <a:t> </a:t>
            </a:r>
            <a:endParaRPr kumimoji="0" lang="en-US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Рисунок 2" descr="http://magazinot.ru/?com=media&amp;t=img&amp;f=photos|big_8857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524318">
            <a:off x="6117625" y="5785529"/>
            <a:ext cx="522494" cy="47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2" descr="http://magazinot.ru/?com=media&amp;t=img&amp;f=photos|big_88570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542264">
            <a:off x="5014875" y="4152367"/>
            <a:ext cx="522494" cy="478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794659" y="35084"/>
            <a:ext cx="7848601" cy="844232"/>
          </a:xfrm>
        </p:spPr>
        <p:txBody>
          <a:bodyPr/>
          <a:lstStyle/>
          <a:p>
            <a:pPr algn="l"/>
            <a:r>
              <a:rPr lang="ru-RU" sz="4000" dirty="0"/>
              <a:t>Схема № </a:t>
            </a:r>
            <a:r>
              <a:rPr lang="ru-RU" sz="4000" dirty="0" smtClean="0"/>
              <a:t>2. Установление </a:t>
            </a:r>
            <a:r>
              <a:rPr lang="ru-RU" sz="4000" dirty="0"/>
              <a:t>приоритета движения</a:t>
            </a:r>
          </a:p>
        </p:txBody>
      </p:sp>
    </p:spTree>
    <p:extLst>
      <p:ext uri="{BB962C8B-B14F-4D97-AF65-F5344CB8AC3E}">
        <p14:creationId xmlns:p14="http://schemas.microsoft.com/office/powerpoint/2010/main" val="1178542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oDHYOAy0SO1WrYigXW.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007</TotalTime>
  <Pages>8</Pages>
  <Words>27</Words>
  <Application>Microsoft Office PowerPoint</Application>
  <PresentationFormat>A3 (297x420 мм)</PresentationFormat>
  <Paragraphs>7</Paragraphs>
  <Slides>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0" baseType="lpstr">
      <vt:lpstr>Arial</vt:lpstr>
      <vt:lpstr>Calibri</vt:lpstr>
      <vt:lpstr>Times New Roman</vt:lpstr>
      <vt:lpstr>Wingdings</vt:lpstr>
      <vt:lpstr>Helvetica</vt:lpstr>
      <vt:lpstr>1_Тема Office</vt:lpstr>
      <vt:lpstr>think-cell Slide</vt:lpstr>
      <vt:lpstr>Презентация PowerPoint</vt:lpstr>
      <vt:lpstr>Схема № 1. Маршрут движения </vt:lpstr>
      <vt:lpstr>Схема № 2. Установление приоритета движения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kolkovo Foundation</dc:creator>
  <cp:lastModifiedBy>Osipova Elena</cp:lastModifiedBy>
  <cp:revision>2708</cp:revision>
  <cp:lastPrinted>2015-04-20T06:20:39Z</cp:lastPrinted>
  <dcterms:created xsi:type="dcterms:W3CDTF">2010-12-08T07:12:18Z</dcterms:created>
  <dcterms:modified xsi:type="dcterms:W3CDTF">2015-10-20T14:25:41Z</dcterms:modified>
</cp:coreProperties>
</file>